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300" r:id="rId3"/>
    <p:sldId id="274" r:id="rId4"/>
    <p:sldId id="273" r:id="rId5"/>
    <p:sldId id="275" r:id="rId6"/>
    <p:sldId id="285" r:id="rId7"/>
    <p:sldId id="293" r:id="rId8"/>
    <p:sldId id="294" r:id="rId9"/>
    <p:sldId id="299" r:id="rId10"/>
    <p:sldId id="281" r:id="rId11"/>
    <p:sldId id="295" r:id="rId12"/>
    <p:sldId id="296" r:id="rId13"/>
    <p:sldId id="282" r:id="rId14"/>
    <p:sldId id="297" r:id="rId15"/>
    <p:sldId id="298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FFC611"/>
    <a:srgbClr val="EA7310"/>
    <a:srgbClr val="FF0000"/>
    <a:srgbClr val="B2BBD0"/>
    <a:srgbClr val="BAC6DF"/>
    <a:srgbClr val="DC582A"/>
    <a:srgbClr val="FFFFFF"/>
    <a:srgbClr val="002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92" autoAdjust="0"/>
    <p:restoredTop sz="96005" autoAdjust="0"/>
  </p:normalViewPr>
  <p:slideViewPr>
    <p:cSldViewPr snapToGrid="0" snapToObjects="1">
      <p:cViewPr varScale="1">
        <p:scale>
          <a:sx n="122" d="100"/>
          <a:sy n="122" d="100"/>
        </p:scale>
        <p:origin x="224" y="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3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B3438A-DCEC-4108-B96F-F01D2061D994}"/>
              </a:ext>
            </a:extLst>
          </p:cNvPr>
          <p:cNvSpPr/>
          <p:nvPr userDrawn="1"/>
        </p:nvSpPr>
        <p:spPr>
          <a:xfrm>
            <a:off x="0" y="1537856"/>
            <a:ext cx="5880100" cy="223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7CE786-0EFB-4F8F-AEAA-FD3A3A8BA4B9}"/>
              </a:ext>
            </a:extLst>
          </p:cNvPr>
          <p:cNvSpPr/>
          <p:nvPr userDrawn="1"/>
        </p:nvSpPr>
        <p:spPr>
          <a:xfrm>
            <a:off x="5880100" y="1537855"/>
            <a:ext cx="6311900" cy="2234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B4A4-9BEE-42D5-9B3F-A06AFECA982C}"/>
              </a:ext>
            </a:extLst>
          </p:cNvPr>
          <p:cNvSpPr/>
          <p:nvPr userDrawn="1"/>
        </p:nvSpPr>
        <p:spPr>
          <a:xfrm>
            <a:off x="5880100" y="3770314"/>
            <a:ext cx="6311900" cy="223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D623C4-06DC-42D0-8492-B2DF0E2FE1B7}"/>
              </a:ext>
            </a:extLst>
          </p:cNvPr>
          <p:cNvSpPr/>
          <p:nvPr userDrawn="1"/>
        </p:nvSpPr>
        <p:spPr>
          <a:xfrm>
            <a:off x="0" y="3771901"/>
            <a:ext cx="5880100" cy="2234044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376362"/>
            <a:ext cx="11377613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"No Need to Panic,</a:t>
            </a:r>
            <a:br>
              <a:rPr lang="en-GB" sz="4800" dirty="0">
                <a:latin typeface="Avenir Next LT Pro" panose="020B0504020202020204" pitchFamily="34" charset="0"/>
              </a:rPr>
            </a:br>
            <a:r>
              <a:rPr lang="en-GB" sz="4800" dirty="0">
                <a:latin typeface="Avenir Next LT Pro" panose="020B0504020202020204" pitchFamily="34" charset="0"/>
              </a:rPr>
              <a:t> It's All Under Control..." </a:t>
            </a:r>
            <a:br>
              <a:rPr lang="en-GB" sz="280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A Visual Critique of European Government's COVID-19 Response Strategies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id European Countries React to Wave 1?</a:t>
            </a:r>
            <a:br>
              <a:rPr lang="en-GB" sz="2800" dirty="0"/>
            </a:br>
            <a:r>
              <a:rPr lang="en-GB" sz="2400" b="0" dirty="0"/>
              <a:t>What Trend do we see</a:t>
            </a:r>
            <a:endParaRPr lang="en-GB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0239FDF6-6D80-4B66-9885-D0617A8E4390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8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Flag of Italy">
            <a:extLst>
              <a:ext uri="{FF2B5EF4-FFF2-40B4-BE49-F238E27FC236}">
                <a16:creationId xmlns:a16="http://schemas.microsoft.com/office/drawing/2014/main" id="{3712B32E-612E-4259-AB6D-E6AF6B696B7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1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Flag of France">
            <a:extLst>
              <a:ext uri="{FF2B5EF4-FFF2-40B4-BE49-F238E27FC236}">
                <a16:creationId xmlns:a16="http://schemas.microsoft.com/office/drawing/2014/main" id="{0ED1EE5F-9D7F-4E32-A6DE-71DAE2A7135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Flag of Poland">
            <a:extLst>
              <a:ext uri="{FF2B5EF4-FFF2-40B4-BE49-F238E27FC236}">
                <a16:creationId xmlns:a16="http://schemas.microsoft.com/office/drawing/2014/main" id="{019C16F4-8439-4E97-B17E-AC2DC9BDB665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Flag of Sweden">
            <a:extLst>
              <a:ext uri="{FF2B5EF4-FFF2-40B4-BE49-F238E27FC236}">
                <a16:creationId xmlns:a16="http://schemas.microsoft.com/office/drawing/2014/main" id="{C4A7D98A-A622-4E1E-BDD3-70E585B4EB4A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69F112AB-6CF4-45DD-9338-689E15F5BBE0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5A956F-F457-40ED-B7FF-D4368196393E}"/>
              </a:ext>
            </a:extLst>
          </p:cNvPr>
          <p:cNvSpPr txBox="1"/>
          <p:nvPr/>
        </p:nvSpPr>
        <p:spPr>
          <a:xfrm>
            <a:off x="25300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ate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with</a:t>
            </a:r>
            <a:r>
              <a:rPr lang="de-DE" sz="1400" dirty="0">
                <a:latin typeface="Avenir Next LT Pro" panose="020B0504020202020204" pitchFamily="34" charset="0"/>
              </a:rPr>
              <a:t> slow </a:t>
            </a:r>
            <a:r>
              <a:rPr lang="de-DE" sz="1400" dirty="0" err="1">
                <a:latin typeface="Avenir Next LT Pro" panose="020B0504020202020204" pitchFamily="34" charset="0"/>
              </a:rPr>
              <a:t>effect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267289-3BC5-493B-9C13-D2B415494F51}"/>
              </a:ext>
            </a:extLst>
          </p:cNvPr>
          <p:cNvSpPr txBox="1"/>
          <p:nvPr/>
        </p:nvSpPr>
        <p:spPr>
          <a:xfrm>
            <a:off x="253002" y="3583552"/>
            <a:ext cx="1548880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ocal</a:t>
            </a:r>
            <a:r>
              <a:rPr lang="de-DE" sz="1400" dirty="0">
                <a:latin typeface="Avenir Next LT Pro" panose="020B0504020202020204" pitchFamily="34" charset="0"/>
              </a:rPr>
              <a:t> and </a:t>
            </a:r>
            <a:r>
              <a:rPr lang="de-DE" sz="1400" dirty="0" err="1">
                <a:latin typeface="Avenir Next LT Pro" panose="020B0504020202020204" pitchFamily="34" charset="0"/>
              </a:rPr>
              <a:t>strict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5B336-8490-4510-8CBE-7B36591E0402}"/>
              </a:ext>
            </a:extLst>
          </p:cNvPr>
          <p:cNvSpPr txBox="1"/>
          <p:nvPr/>
        </p:nvSpPr>
        <p:spPr>
          <a:xfrm>
            <a:off x="253003" y="5121459"/>
            <a:ext cx="143916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01213D-C1E1-47FB-AEDC-91CBD8545EE8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Fast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ow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2B09-AE42-4996-A976-A8E3509C65D4}"/>
              </a:ext>
            </a:extLst>
          </p:cNvPr>
          <p:cNvSpPr txBox="1"/>
          <p:nvPr/>
        </p:nvSpPr>
        <p:spPr>
          <a:xfrm>
            <a:off x="9945026" y="3629870"/>
            <a:ext cx="1475643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No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- </a:t>
            </a:r>
          </a:p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man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BAC471-290B-4A48-975A-AECDB5B815B6}"/>
              </a:ext>
            </a:extLst>
          </p:cNvPr>
          <p:cNvSpPr txBox="1"/>
          <p:nvPr/>
        </p:nvSpPr>
        <p:spPr>
          <a:xfrm>
            <a:off x="9945026" y="5147512"/>
            <a:ext cx="183898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Early, </a:t>
            </a:r>
            <a:r>
              <a:rPr lang="de-DE" sz="1400" dirty="0" err="1">
                <a:latin typeface="Avenir Next LT Pro" panose="020B0504020202020204" pitchFamily="34" charset="0"/>
              </a:rPr>
              <a:t>har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,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strong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19" name="Picture 18" descr="Chart&#10;&#10;Description automatically generated">
            <a:extLst>
              <a:ext uri="{FF2B5EF4-FFF2-40B4-BE49-F238E27FC236}">
                <a16:creationId xmlns:a16="http://schemas.microsoft.com/office/drawing/2014/main" id="{CC039411-C938-43C8-BF57-16C8B348AEA8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641442" y="1388737"/>
            <a:ext cx="8274197" cy="47894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176E5F-75AC-4925-BE20-36044D28D5C2}"/>
              </a:ext>
            </a:extLst>
          </p:cNvPr>
          <p:cNvSpPr/>
          <p:nvPr/>
        </p:nvSpPr>
        <p:spPr>
          <a:xfrm>
            <a:off x="7128588" y="3429000"/>
            <a:ext cx="1147665" cy="1021702"/>
          </a:xfrm>
          <a:prstGeom prst="rect">
            <a:avLst/>
          </a:prstGeom>
          <a:solidFill>
            <a:schemeClr val="bg1">
              <a:lumMod val="75000"/>
              <a:alpha val="1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54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ave 2: Which European Country had the most Cases?</a:t>
            </a:r>
            <a:br>
              <a:rPr lang="en-GB" sz="2800" dirty="0"/>
            </a:br>
            <a:r>
              <a:rPr lang="en-GB" sz="2400" b="0" dirty="0"/>
              <a:t>Wave 2 hit European Countries to a different ext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6C3FF-6417-41D2-8913-63AF37924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449E46-6950-4E0B-A234-5E66D37EC8E0}"/>
              </a:ext>
            </a:extLst>
          </p:cNvPr>
          <p:cNvSpPr/>
          <p:nvPr/>
        </p:nvSpPr>
        <p:spPr>
          <a:xfrm>
            <a:off x="255809" y="1483891"/>
            <a:ext cx="5624290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9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d Governments Learn from Wave 1?</a:t>
            </a:r>
            <a:br>
              <a:rPr lang="en-GB" dirty="0"/>
            </a:br>
            <a:r>
              <a:rPr lang="en-GB" sz="2400" b="0" dirty="0"/>
              <a:t>Most countries opted for faster, harder lockdowns – following the Danish example</a:t>
            </a:r>
            <a:endParaRPr lang="en-GB" dirty="0"/>
          </a:p>
        </p:txBody>
      </p:sp>
      <p:pic>
        <p:nvPicPr>
          <p:cNvPr id="19" name="Picture 18" descr="Chart, line chart&#10;&#10;Description automatically generated">
            <a:extLst>
              <a:ext uri="{FF2B5EF4-FFF2-40B4-BE49-F238E27FC236}">
                <a16:creationId xmlns:a16="http://schemas.microsoft.com/office/drawing/2014/main" id="{FED4F63C-4234-46F8-ABAF-96BD104A119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68624" y="1376363"/>
            <a:ext cx="8240486" cy="4789487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747CCDB9-8FD2-4F63-8C63-BDF2A96BFB03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9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Flag of Italy">
            <a:extLst>
              <a:ext uri="{FF2B5EF4-FFF2-40B4-BE49-F238E27FC236}">
                <a16:creationId xmlns:a16="http://schemas.microsoft.com/office/drawing/2014/main" id="{ACC6607F-62FC-4F6D-8428-2574879FD21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Flag of France">
            <a:extLst>
              <a:ext uri="{FF2B5EF4-FFF2-40B4-BE49-F238E27FC236}">
                <a16:creationId xmlns:a16="http://schemas.microsoft.com/office/drawing/2014/main" id="{1F308F43-B382-48E2-A944-063FDB70717A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Flag of Poland">
            <a:extLst>
              <a:ext uri="{FF2B5EF4-FFF2-40B4-BE49-F238E27FC236}">
                <a16:creationId xmlns:a16="http://schemas.microsoft.com/office/drawing/2014/main" id="{78B4CF94-2194-4E13-B611-562DFE010B4B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Flag of Sweden">
            <a:extLst>
              <a:ext uri="{FF2B5EF4-FFF2-40B4-BE49-F238E27FC236}">
                <a16:creationId xmlns:a16="http://schemas.microsoft.com/office/drawing/2014/main" id="{5B9ADFCC-B50E-4DD9-9CDB-5FE3DA7D2914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ED70A25B-10CE-48B0-8805-EF31AB6F6EB1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25A3C37-EE55-4330-AD4B-2E4F1E47B648}"/>
              </a:ext>
            </a:extLst>
          </p:cNvPr>
          <p:cNvSpPr txBox="1"/>
          <p:nvPr/>
        </p:nvSpPr>
        <p:spPr>
          <a:xfrm>
            <a:off x="26351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B4D83-2245-42BE-AB04-E622F9C02CA4}"/>
              </a:ext>
            </a:extLst>
          </p:cNvPr>
          <p:cNvSpPr txBox="1"/>
          <p:nvPr/>
        </p:nvSpPr>
        <p:spPr>
          <a:xfrm>
            <a:off x="263512" y="3583552"/>
            <a:ext cx="154888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despit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arl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83734D-CBC6-41FE-869D-7FEBDDB3F88C}"/>
              </a:ext>
            </a:extLst>
          </p:cNvPr>
          <p:cNvSpPr txBox="1"/>
          <p:nvPr/>
        </p:nvSpPr>
        <p:spPr>
          <a:xfrm>
            <a:off x="252249" y="5121459"/>
            <a:ext cx="1623204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5F269B-DB47-433E-BE01-A594ADE00D66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ven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BFB47B-35F6-4A68-B9C7-AF2BB72681F2}"/>
              </a:ext>
            </a:extLst>
          </p:cNvPr>
          <p:cNvSpPr txBox="1"/>
          <p:nvPr/>
        </p:nvSpPr>
        <p:spPr>
          <a:xfrm>
            <a:off x="9945026" y="3629870"/>
            <a:ext cx="192040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4690-FCAC-425C-8D6B-FA5E7491EE1E}"/>
              </a:ext>
            </a:extLst>
          </p:cNvPr>
          <p:cNvSpPr txBox="1"/>
          <p:nvPr/>
        </p:nvSpPr>
        <p:spPr>
          <a:xfrm>
            <a:off x="9945026" y="5147512"/>
            <a:ext cx="1548881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strategy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successful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82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7" y="5266308"/>
            <a:ext cx="8368152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</a:p>
          <a:p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</a:p>
          <a:p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r>
              <a:rPr lang="en-GB" b="0" dirty="0"/>
              <a:t>Sense check: a linear model </a:t>
            </a:r>
            <a:r>
              <a:rPr lang="en-GB" sz="2800" b="0" dirty="0"/>
              <a:t>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8370289" y="1612339"/>
            <a:ext cx="3529336" cy="5106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Most important</a:t>
            </a:r>
            <a:r>
              <a:rPr lang="en-US" sz="1400" dirty="0">
                <a:latin typeface="Avenir Next LT Pro" panose="020B0504020202020204" pitchFamily="34" charset="0"/>
              </a:rPr>
              <a:t> factor, </a:t>
            </a:r>
            <a:r>
              <a:rPr lang="en-US" sz="1400" b="1" dirty="0">
                <a:latin typeface="Avenir Next LT Pro" panose="020B0504020202020204" pitchFamily="34" charset="0"/>
              </a:rPr>
              <a:t>by far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As we have seen</a:t>
            </a:r>
            <a:r>
              <a:rPr lang="en-US" sz="1400" b="1" dirty="0">
                <a:latin typeface="Avenir Next LT Pro" panose="020B0504020202020204" pitchFamily="34" charset="0"/>
              </a:rPr>
              <a:t>, 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We expect an </a:t>
            </a:r>
            <a:r>
              <a:rPr lang="en-US" sz="1400" b="1" dirty="0">
                <a:latin typeface="Avenir Next LT Pro" panose="020B0504020202020204" pitchFamily="34" charset="0"/>
              </a:rPr>
              <a:t>additional case per million </a:t>
            </a:r>
            <a:r>
              <a:rPr lang="en-US" sz="1400" dirty="0">
                <a:latin typeface="Avenir Next LT Pro" panose="020B0504020202020204" pitchFamily="34" charset="0"/>
              </a:rPr>
              <a:t>for </a:t>
            </a:r>
            <a:r>
              <a:rPr lang="en-US" sz="1400" b="1" dirty="0">
                <a:latin typeface="Avenir Next LT Pro" panose="020B0504020202020204" pitchFamily="34" charset="0"/>
              </a:rPr>
              <a:t>each passing day</a:t>
            </a:r>
            <a:r>
              <a:rPr lang="en-US" sz="1400" dirty="0">
                <a:latin typeface="Avenir Next LT Pro" panose="020B0504020202020204" pitchFamily="34" charset="0"/>
              </a:rPr>
              <a:t> before (any stringency) of measures are enforced </a:t>
            </a: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Though stringency matters, its </a:t>
            </a:r>
            <a:r>
              <a:rPr lang="en-US" sz="1400" b="1" dirty="0">
                <a:latin typeface="Avenir Next LT Pro" panose="020B0504020202020204" pitchFamily="34" charset="0"/>
              </a:rPr>
              <a:t>importance is low </a:t>
            </a:r>
            <a:r>
              <a:rPr lang="en-US" sz="1400" dirty="0">
                <a:latin typeface="Avenir Next LT Pro" panose="020B0504020202020204" pitchFamily="34" charset="0"/>
              </a:rPr>
              <a:t>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Country Heterogeneity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Stringency</a:t>
            </a:r>
            <a:r>
              <a:rPr lang="en-US" sz="1400" dirty="0">
                <a:latin typeface="Avenir Next LT Pro" panose="020B0504020202020204" pitchFamily="34" charset="0"/>
              </a:rPr>
              <a:t>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Luxembourg and Belgium are the most </a:t>
            </a:r>
            <a:r>
              <a:rPr lang="en-US" sz="1400" b="1" dirty="0">
                <a:latin typeface="Avenir Next LT Pro" panose="020B0504020202020204" pitchFamily="34" charset="0"/>
              </a:rPr>
              <a:t>densely populated </a:t>
            </a:r>
            <a:r>
              <a:rPr lang="en-US" sz="1400" dirty="0">
                <a:latin typeface="Avenir Next LT Pro" panose="020B0504020202020204" pitchFamily="34" charset="0"/>
              </a:rPr>
              <a:t>in mainland Europe, meaning </a:t>
            </a:r>
            <a:r>
              <a:rPr lang="en-US" sz="1400" b="1" dirty="0">
                <a:latin typeface="Avenir Next LT Pro" panose="020B0504020202020204" pitchFamily="34" charset="0"/>
              </a:rPr>
              <a:t>stringency</a:t>
            </a:r>
            <a:r>
              <a:rPr lang="en-US" sz="1400" dirty="0">
                <a:latin typeface="Avenir Next LT Pro" panose="020B0504020202020204" pitchFamily="34" charset="0"/>
              </a:rPr>
              <a:t> measures had </a:t>
            </a:r>
            <a:r>
              <a:rPr lang="en-US" sz="1400" b="1" dirty="0">
                <a:latin typeface="Avenir Next LT Pro" panose="020B0504020202020204" pitchFamily="34" charset="0"/>
              </a:rPr>
              <a:t>huge importanc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706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9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237508"/>
            <a:ext cx="2334872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4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400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400" b="1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4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237508"/>
            <a:ext cx="238945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4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4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400" i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475516"/>
            <a:ext cx="2334872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4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4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464713"/>
            <a:ext cx="2436733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4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4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40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86EE9-A80E-460F-8621-BB3DC88973F0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87D1E8-B023-C04F-ACD8-76AC3C20C827}"/>
              </a:ext>
            </a:extLst>
          </p:cNvPr>
          <p:cNvSpPr/>
          <p:nvPr/>
        </p:nvSpPr>
        <p:spPr>
          <a:xfrm>
            <a:off x="464312" y="3069253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Denmark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early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and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ard lockdow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, and France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ct lockdown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oth brought cases down rapidly, thoug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ack of testing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likely to explain much of France’s apparent success. </a:t>
            </a: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94B66FC-192A-8F4F-9629-BA26BD2B3EF2}"/>
              </a:ext>
            </a:extLst>
          </p:cNvPr>
          <p:cNvSpPr/>
          <p:nvPr/>
        </p:nvSpPr>
        <p:spPr>
          <a:xfrm>
            <a:off x="6027088" y="3065545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e identify a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atter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between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abilit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(whether high or low) and bo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ases and death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: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ess indecisive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government policy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ower the spread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cases and deaths.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verconfidence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wa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atal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as Wave 2 approach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8797152" y="2085738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314039" y="2085736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8690396" y="1724105"/>
            <a:ext cx="1022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223898" y="1720256"/>
            <a:ext cx="1499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8706238" y="2611596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314039" y="2611596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32E3B3B-44FE-834C-B2AF-D174B3F3017F}"/>
              </a:ext>
            </a:extLst>
          </p:cNvPr>
          <p:cNvSpPr/>
          <p:nvPr/>
        </p:nvSpPr>
        <p:spPr>
          <a:xfrm>
            <a:off x="407394" y="5248635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iming is (almost) everything.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ooner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are taken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ewer cases and fatalit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can expect,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regardless of how stringen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y are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968824" y="3887426"/>
            <a:ext cx="741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181" y="4258743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1403" y="4269427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4319648" y="3887426"/>
            <a:ext cx="870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3031577" y="4783443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385212" y="4783443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A10B3A-B273-2647-A162-8E274EC78E31}"/>
              </a:ext>
            </a:extLst>
          </p:cNvPr>
          <p:cNvSpPr/>
          <p:nvPr/>
        </p:nvSpPr>
        <p:spPr>
          <a:xfrm>
            <a:off x="5975420" y="5246077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to matter most for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mall countr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igh population densiti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(Belgium and Luxembourg), and for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orst hi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(Czech Republic, Spain) 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low, indecisive respons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9018035" y="4145418"/>
            <a:ext cx="151984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Most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Luxembourg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Belgium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pai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Czech Republic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10419139" y="4145418"/>
            <a:ext cx="128144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Less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Poland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Gree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wede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Iceland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9372510" y="383190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952653" y="1785869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840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Q&amp;A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2644058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C73450-DC31-469D-936B-2A1B84D769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464"/>
          <a:stretch/>
        </p:blipFill>
        <p:spPr>
          <a:xfrm>
            <a:off x="619450" y="1250146"/>
            <a:ext cx="3462510" cy="226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EFE33-7C38-6946-83C4-3CC1F8E7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6295" y="1742905"/>
            <a:ext cx="4421742" cy="2187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CC6D4-53CA-480A-9C4B-76B74C2E4E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45" r="6837"/>
          <a:stretch/>
        </p:blipFill>
        <p:spPr>
          <a:xfrm>
            <a:off x="8496849" y="3552350"/>
            <a:ext cx="3462510" cy="28358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02A9F-F358-4973-8BF7-CF490D2579DE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082049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Did you say Lockdown? </a:t>
            </a:r>
            <a:br>
              <a:rPr lang="en-GB" sz="2400" dirty="0"/>
            </a:br>
            <a:r>
              <a:rPr lang="en-GB" sz="2400" b="0" dirty="0"/>
              <a:t>European governments are taking different measures to fight COVID-19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584" y="1306228"/>
            <a:ext cx="3739966" cy="2715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7" y="3267086"/>
            <a:ext cx="4174167" cy="3139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11" y="3817089"/>
            <a:ext cx="3061988" cy="2675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4206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9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Do they Really have Everything under Control? </a:t>
            </a:r>
            <a:br>
              <a:rPr lang="en-GB" sz="2400" dirty="0"/>
            </a:br>
            <a:r>
              <a:rPr lang="en-GB" sz="2400" b="0" dirty="0"/>
              <a:t>We want to understand the differences between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2441162" y="2299877"/>
            <a:ext cx="3661465" cy="6994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7819958" y="2299877"/>
            <a:ext cx="3747052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2441163" y="4220640"/>
            <a:ext cx="3661465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7819958" y="4220640"/>
            <a:ext cx="3821199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6124711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6124711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38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9E0731B-86B9-4B36-B34D-92B11BD86FDE}"/>
              </a:ext>
            </a:extLst>
          </p:cNvPr>
          <p:cNvSpPr/>
          <p:nvPr/>
        </p:nvSpPr>
        <p:spPr>
          <a:xfrm>
            <a:off x="6778487" y="1506124"/>
            <a:ext cx="4790662" cy="465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1C7C8-FFD5-40AD-96FF-9205B1DAE114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598375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How Did We Find the Information? </a:t>
            </a:r>
            <a:br>
              <a:rPr lang="en-GB" sz="2400" dirty="0"/>
            </a:br>
            <a:r>
              <a:rPr lang="en-GB" sz="2400" b="0" dirty="0"/>
              <a:t>We predominantly used Data from Our World In Data and the Oxford CGRT Stringency Index to analyse the effects of Government meas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EF3A8-8695-4FF8-815A-8E8433E79338}"/>
              </a:ext>
            </a:extLst>
          </p:cNvPr>
          <p:cNvSpPr txBox="1"/>
          <p:nvPr/>
        </p:nvSpPr>
        <p:spPr>
          <a:xfrm>
            <a:off x="7818854" y="1698730"/>
            <a:ext cx="3478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chool &amp; Workplace closure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7B250-AE07-4232-9776-13A4F5428337}"/>
              </a:ext>
            </a:extLst>
          </p:cNvPr>
          <p:cNvSpPr txBox="1"/>
          <p:nvPr/>
        </p:nvSpPr>
        <p:spPr>
          <a:xfrm>
            <a:off x="7818854" y="2374304"/>
            <a:ext cx="37502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Cancel public events &amp; Restrictions on gathering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232A0C-BF5E-4F19-9DE3-04A7E42F9699}"/>
              </a:ext>
            </a:extLst>
          </p:cNvPr>
          <p:cNvSpPr txBox="1"/>
          <p:nvPr/>
        </p:nvSpPr>
        <p:spPr>
          <a:xfrm>
            <a:off x="7818854" y="3326877"/>
            <a:ext cx="1796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tay at home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43C0-AB0C-4F82-94D8-A9EE9354DFBE}"/>
              </a:ext>
            </a:extLst>
          </p:cNvPr>
          <p:cNvSpPr txBox="1"/>
          <p:nvPr/>
        </p:nvSpPr>
        <p:spPr>
          <a:xfrm>
            <a:off x="7818854" y="4002451"/>
            <a:ext cx="375029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Restrictions on internal transpo</a:t>
            </a:r>
            <a:r>
              <a:rPr lang="en-GB" b="1" dirty="0">
                <a:latin typeface="Avenir Book"/>
                <a:ea typeface="Times New Roman" panose="02020603050405020304" pitchFamily="18" charset="0"/>
              </a:rPr>
              <a:t>rtation (inc. c</a:t>
            </a:r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losing public transportation)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55469C-8600-4962-978E-6F160BC2C635}"/>
              </a:ext>
            </a:extLst>
          </p:cNvPr>
          <p:cNvSpPr txBox="1"/>
          <p:nvPr/>
        </p:nvSpPr>
        <p:spPr>
          <a:xfrm>
            <a:off x="7818854" y="4955024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International travel controls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007DB-6006-444A-B02D-55B395E43012}"/>
              </a:ext>
            </a:extLst>
          </p:cNvPr>
          <p:cNvSpPr txBox="1"/>
          <p:nvPr/>
        </p:nvSpPr>
        <p:spPr>
          <a:xfrm>
            <a:off x="7786552" y="5630599"/>
            <a:ext cx="3510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Public information campaigns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ED97CA-630F-41DD-AD8D-5011D82FDAF9}"/>
              </a:ext>
            </a:extLst>
          </p:cNvPr>
          <p:cNvGrpSpPr/>
          <p:nvPr/>
        </p:nvGrpSpPr>
        <p:grpSpPr>
          <a:xfrm>
            <a:off x="6963880" y="1590103"/>
            <a:ext cx="648000" cy="648000"/>
            <a:chOff x="6887635" y="1625392"/>
            <a:chExt cx="648000" cy="6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C25C9B7-C2C0-4FDE-8705-7156D257C917}"/>
                </a:ext>
              </a:extLst>
            </p:cNvPr>
            <p:cNvSpPr/>
            <p:nvPr/>
          </p:nvSpPr>
          <p:spPr>
            <a:xfrm>
              <a:off x="6887635" y="1625392"/>
              <a:ext cx="648000" cy="648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34818" name="Picture 2" descr="school icon">
              <a:extLst>
                <a:ext uri="{FF2B5EF4-FFF2-40B4-BE49-F238E27FC236}">
                  <a16:creationId xmlns:a16="http://schemas.microsoft.com/office/drawing/2014/main" id="{EA0C3731-19F2-4889-9F03-C56CD3ACE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181" y="1675087"/>
              <a:ext cx="459615" cy="459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22" name="Picture 6" descr="Event Icon Images, Stock Photos &amp; Vectors | Shutterstock">
            <a:extLst>
              <a:ext uri="{FF2B5EF4-FFF2-40B4-BE49-F238E27FC236}">
                <a16:creationId xmlns:a16="http://schemas.microsoft.com/office/drawing/2014/main" id="{A2E31DCD-CE5A-447B-BE9E-A0A95EDDA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86429" l="9231" r="90385">
                        <a14:foregroundMark x1="49615" y1="49643" x2="49615" y2="49643"/>
                        <a14:foregroundMark x1="33846" y1="36429" x2="70769" y2="62857"/>
                        <a14:foregroundMark x1="72308" y1="74643" x2="38077" y2="45714"/>
                        <a14:foregroundMark x1="15385" y1="45714" x2="9615" y2="45714"/>
                        <a14:foregroundMark x1="49615" y1="86429" x2="49615" y2="86429"/>
                        <a14:foregroundMark x1="90769" y1="47143" x2="90769" y2="47143"/>
                        <a14:foregroundMark x1="43846" y1="48214" x2="55385" y2="13929"/>
                        <a14:foregroundMark x1="73846" y1="55000" x2="65385" y2="44286"/>
                        <a14:foregroundMark x1="66538" y1="45714" x2="41154" y2="15357"/>
                        <a14:foregroundMark x1="32692" y1="41786" x2="56538" y2="42857"/>
                        <a14:foregroundMark x1="46923" y1="47143" x2="33846" y2="40357"/>
                        <a14:foregroundMark x1="36923" y1="49643" x2="36923" y2="49643"/>
                        <a14:foregroundMark x1="36923" y1="58929" x2="36923" y2="58929"/>
                        <a14:foregroundMark x1="43846" y1="56071" x2="43846" y2="56071"/>
                        <a14:foregroundMark x1="45385" y1="60357" x2="46923" y2="13929"/>
                        <a14:foregroundMark x1="52308" y1="12500" x2="52308" y2="12500"/>
                        <a14:foregroundMark x1="36923" y1="10000" x2="58077" y2="10000"/>
                        <a14:foregroundMark x1="58077" y1="76071" x2="73846" y2="65357"/>
                        <a14:foregroundMark x1="69615" y1="31071" x2="33846" y2="55000"/>
                        <a14:foregroundMark x1="51154" y1="52143" x2="42308" y2="61429"/>
                        <a14:foregroundMark x1="56538" y1="61429" x2="32692" y2="41786"/>
                        <a14:foregroundMark x1="72308" y1="45714" x2="62308" y2="403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16" t="3085" r="4782" b="10870"/>
          <a:stretch/>
        </p:blipFill>
        <p:spPr bwMode="auto">
          <a:xfrm>
            <a:off x="6980404" y="2373631"/>
            <a:ext cx="63147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browser, home, house, internet, navigation, real, state, estate, svg, eps, vector, png, green">
            <a:extLst>
              <a:ext uri="{FF2B5EF4-FFF2-40B4-BE49-F238E27FC236}">
                <a16:creationId xmlns:a16="http://schemas.microsoft.com/office/drawing/2014/main" id="{E4EF6376-DCE7-4926-A125-6E80F365F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880" y="315715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8" name="Picture 12" descr="autobus, bus, car, charabanc, passenger, public, tour, traffic, transport">
            <a:extLst>
              <a:ext uri="{FF2B5EF4-FFF2-40B4-BE49-F238E27FC236}">
                <a16:creationId xmlns:a16="http://schemas.microsoft.com/office/drawing/2014/main" id="{6F4C5F09-372C-4B9F-9E1B-C7FAC5C4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3940687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0" name="Picture 14" descr="Airplane icon">
            <a:extLst>
              <a:ext uri="{FF2B5EF4-FFF2-40B4-BE49-F238E27FC236}">
                <a16:creationId xmlns:a16="http://schemas.microsoft.com/office/drawing/2014/main" id="{85F2F3CE-5AEA-46C8-A9B4-4F8F17C85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472254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2" name="Picture 16" descr="Info icon">
            <a:extLst>
              <a:ext uri="{FF2B5EF4-FFF2-40B4-BE49-F238E27FC236}">
                <a16:creationId xmlns:a16="http://schemas.microsoft.com/office/drawing/2014/main" id="{8C9790F9-8244-4B7F-831E-A6B49BC36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550440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796C14-352A-4F0A-9B85-6080A2B1BA8A}"/>
              </a:ext>
            </a:extLst>
          </p:cNvPr>
          <p:cNvSpPr txBox="1"/>
          <p:nvPr/>
        </p:nvSpPr>
        <p:spPr>
          <a:xfrm>
            <a:off x="901820" y="4471938"/>
            <a:ext cx="1807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OLICY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BFB3B4-9F79-4982-82EA-8F6F8326D090}"/>
              </a:ext>
            </a:extLst>
          </p:cNvPr>
          <p:cNvSpPr txBox="1"/>
          <p:nvPr/>
        </p:nvSpPr>
        <p:spPr>
          <a:xfrm>
            <a:off x="901821" y="2341341"/>
            <a:ext cx="1651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OVID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3D3FDC-5591-44FF-ADCD-C6F3A869F5A3}"/>
              </a:ext>
            </a:extLst>
          </p:cNvPr>
          <p:cNvSpPr txBox="1"/>
          <p:nvPr/>
        </p:nvSpPr>
        <p:spPr>
          <a:xfrm>
            <a:off x="2740626" y="2030738"/>
            <a:ext cx="32589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ur World 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spit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esting Data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Numb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r of Cases and deaths per country over tim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D60E40-AB51-4106-A917-6AAA70AF0A44}"/>
              </a:ext>
            </a:extLst>
          </p:cNvPr>
          <p:cNvSpPr txBox="1"/>
          <p:nvPr/>
        </p:nvSpPr>
        <p:spPr>
          <a:xfrm>
            <a:off x="2739349" y="4046762"/>
            <a:ext cx="299877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he Stringency Index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to quanti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y the degree of strictness of the implemented policies?</a:t>
            </a:r>
            <a:endParaRPr lang="en-GB" sz="1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D6F6D390-2698-40B6-9EC0-8A4693700380}"/>
              </a:ext>
            </a:extLst>
          </p:cNvPr>
          <p:cNvSpPr/>
          <p:nvPr/>
        </p:nvSpPr>
        <p:spPr>
          <a:xfrm rot="16200000">
            <a:off x="3909884" y="3297242"/>
            <a:ext cx="4659725" cy="1077485"/>
          </a:xfrm>
          <a:custGeom>
            <a:avLst/>
            <a:gdLst>
              <a:gd name="connsiteX0" fmla="*/ 0 w 4634102"/>
              <a:gd name="connsiteY0" fmla="*/ 1649566 h 1649566"/>
              <a:gd name="connsiteX1" fmla="*/ 790076 w 4634102"/>
              <a:gd name="connsiteY1" fmla="*/ 0 h 1649566"/>
              <a:gd name="connsiteX2" fmla="*/ 3844026 w 4634102"/>
              <a:gd name="connsiteY2" fmla="*/ 0 h 1649566"/>
              <a:gd name="connsiteX3" fmla="*/ 4634102 w 4634102"/>
              <a:gd name="connsiteY3" fmla="*/ 1649566 h 1649566"/>
              <a:gd name="connsiteX4" fmla="*/ 0 w 4634102"/>
              <a:gd name="connsiteY4" fmla="*/ 1649566 h 1649566"/>
              <a:gd name="connsiteX0" fmla="*/ 0 w 4634102"/>
              <a:gd name="connsiteY0" fmla="*/ 1659505 h 1659505"/>
              <a:gd name="connsiteX1" fmla="*/ 790076 w 4634102"/>
              <a:gd name="connsiteY1" fmla="*/ 9939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59505 h 1659505"/>
              <a:gd name="connsiteX1" fmla="*/ 690685 w 4634102"/>
              <a:gd name="connsiteY1" fmla="*/ 34110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35335 h 1635335"/>
              <a:gd name="connsiteX1" fmla="*/ 690685 w 4634102"/>
              <a:gd name="connsiteY1" fmla="*/ 9940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2053706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48082 h 1648082"/>
              <a:gd name="connsiteX1" fmla="*/ 941226 w 4634102"/>
              <a:gd name="connsiteY1" fmla="*/ 0 h 1648082"/>
              <a:gd name="connsiteX2" fmla="*/ 2053706 w 4634102"/>
              <a:gd name="connsiteY2" fmla="*/ 12747 h 1648082"/>
              <a:gd name="connsiteX3" fmla="*/ 4634102 w 4634102"/>
              <a:gd name="connsiteY3" fmla="*/ 1648082 h 1648082"/>
              <a:gd name="connsiteX4" fmla="*/ 0 w 4634102"/>
              <a:gd name="connsiteY4" fmla="*/ 1648082 h 164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4102" h="1648082">
                <a:moveTo>
                  <a:pt x="0" y="1648082"/>
                </a:moveTo>
                <a:lnTo>
                  <a:pt x="941226" y="0"/>
                </a:lnTo>
                <a:lnTo>
                  <a:pt x="2053706" y="12747"/>
                </a:lnTo>
                <a:lnTo>
                  <a:pt x="4634102" y="1648082"/>
                </a:lnTo>
                <a:lnTo>
                  <a:pt x="0" y="16480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D68667-1C1B-4193-A75E-B053EBBA8E7F}"/>
              </a:ext>
            </a:extLst>
          </p:cNvPr>
          <p:cNvSpPr txBox="1"/>
          <p:nvPr/>
        </p:nvSpPr>
        <p:spPr>
          <a:xfrm>
            <a:off x="422609" y="2089486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dirty="0">
                <a:effectLst/>
                <a:latin typeface="Avenir Book"/>
                <a:ea typeface="Times New Roman" panose="02020603050405020304" pitchFamily="18" charset="0"/>
              </a:rPr>
              <a:t>1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1E8AB2-46B9-4A73-8DF7-99A0E33E8829}"/>
              </a:ext>
            </a:extLst>
          </p:cNvPr>
          <p:cNvSpPr txBox="1"/>
          <p:nvPr/>
        </p:nvSpPr>
        <p:spPr>
          <a:xfrm>
            <a:off x="422609" y="4216638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800" b="1" dirty="0">
                <a:latin typeface="Avenir Book"/>
                <a:ea typeface="Times New Roman" panose="02020603050405020304" pitchFamily="18" charset="0"/>
              </a:rPr>
              <a:t>2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248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What was our Methodology?</a:t>
            </a:r>
            <a:br>
              <a:rPr lang="en-GB" sz="2800" dirty="0"/>
            </a:br>
            <a:r>
              <a:rPr lang="en-GB" sz="2400" b="0" dirty="0"/>
              <a:t>After cleaning and wrangling the data, we analysed trends and searched for pattern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9475B4-1619-4D7E-8929-02908A060011}"/>
              </a:ext>
            </a:extLst>
          </p:cNvPr>
          <p:cNvSpPr txBox="1"/>
          <p:nvPr/>
        </p:nvSpPr>
        <p:spPr>
          <a:xfrm>
            <a:off x="907168" y="1497301"/>
            <a:ext cx="477782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Data Clea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ombining 3 datasets: cases/deaths and stringency, hospital data, an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andling of missing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Tidying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reating a subset of Europ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DE6411-554D-444C-BA90-49C4FD57C7FB}"/>
              </a:ext>
            </a:extLst>
          </p:cNvPr>
          <p:cNvCxnSpPr/>
          <p:nvPr/>
        </p:nvCxnSpPr>
        <p:spPr>
          <a:xfrm>
            <a:off x="1122218" y="3855027"/>
            <a:ext cx="97155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A040E4CD-34F9-423A-AB29-DBF85608DED9}"/>
              </a:ext>
            </a:extLst>
          </p:cNvPr>
          <p:cNvSpPr/>
          <p:nvPr/>
        </p:nvSpPr>
        <p:spPr>
          <a:xfrm>
            <a:off x="2348984" y="3564082"/>
            <a:ext cx="571500" cy="571500"/>
          </a:xfrm>
          <a:prstGeom prst="ellipse">
            <a:avLst/>
          </a:prstGeom>
          <a:solidFill>
            <a:srgbClr val="FFD0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9260-7386-4FAD-90AF-1FFECEBBDA8A}"/>
              </a:ext>
            </a:extLst>
          </p:cNvPr>
          <p:cNvSpPr/>
          <p:nvPr/>
        </p:nvSpPr>
        <p:spPr>
          <a:xfrm>
            <a:off x="5591239" y="3564082"/>
            <a:ext cx="571500" cy="571500"/>
          </a:xfrm>
          <a:prstGeom prst="ellipse">
            <a:avLst/>
          </a:prstGeom>
          <a:solidFill>
            <a:srgbClr val="F69F4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9A3473A-E138-4EF0-BCC4-6C6C9E844FA1}"/>
              </a:ext>
            </a:extLst>
          </p:cNvPr>
          <p:cNvSpPr/>
          <p:nvPr/>
        </p:nvSpPr>
        <p:spPr>
          <a:xfrm>
            <a:off x="8833494" y="3564082"/>
            <a:ext cx="571500" cy="571500"/>
          </a:xfrm>
          <a:prstGeom prst="ellipse">
            <a:avLst/>
          </a:prstGeom>
          <a:solidFill>
            <a:srgbClr val="DC582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90C040-29F1-440A-8B85-E886FB21DF5C}"/>
              </a:ext>
            </a:extLst>
          </p:cNvPr>
          <p:cNvSpPr txBox="1"/>
          <p:nvPr/>
        </p:nvSpPr>
        <p:spPr>
          <a:xfrm>
            <a:off x="7117720" y="1755967"/>
            <a:ext cx="422362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Analy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olistic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countries for deep d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Deep Dive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Prediction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D5990-4C15-4509-AA8C-E4C885926FDA}"/>
              </a:ext>
            </a:extLst>
          </p:cNvPr>
          <p:cNvSpPr txBox="1"/>
          <p:nvPr/>
        </p:nvSpPr>
        <p:spPr>
          <a:xfrm>
            <a:off x="4659608" y="4330103"/>
            <a:ext cx="400699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nriching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,0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deaths</a:t>
            </a:r>
          </a:p>
        </p:txBody>
      </p:sp>
      <p:pic>
        <p:nvPicPr>
          <p:cNvPr id="12" name="Picture 14" descr="broom icon">
            <a:extLst>
              <a:ext uri="{FF2B5EF4-FFF2-40B4-BE49-F238E27FC236}">
                <a16:creationId xmlns:a16="http://schemas.microsoft.com/office/drawing/2014/main" id="{7CDDE423-C287-4FF6-A161-89ACC777F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10" y="3603838"/>
            <a:ext cx="482048" cy="48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Add to Folder - Free interface icons">
            <a:extLst>
              <a:ext uri="{FF2B5EF4-FFF2-40B4-BE49-F238E27FC236}">
                <a16:creationId xmlns:a16="http://schemas.microsoft.com/office/drawing/2014/main" id="{E9473494-347E-4C6D-B904-2B902FB78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667" b="90667" l="4000" r="97778">
                        <a14:foregroundMark x1="4444" y1="40444" x2="4444" y2="40444"/>
                        <a14:foregroundMark x1="26222" y1="6667" x2="26222" y2="6667"/>
                        <a14:foregroundMark x1="76444" y1="68889" x2="76444" y2="68889"/>
                        <a14:foregroundMark x1="92444" y1="84889" x2="92444" y2="84889"/>
                        <a14:foregroundMark x1="73778" y1="91111" x2="73778" y2="91111"/>
                        <a14:foregroundMark x1="94667" y1="59556" x2="94667" y2="59556"/>
                        <a14:foregroundMark x1="97778" y1="74222" x2="97778" y2="7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193" y="3681809"/>
            <a:ext cx="404077" cy="4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Magnifier Glass icon">
            <a:extLst>
              <a:ext uri="{FF2B5EF4-FFF2-40B4-BE49-F238E27FC236}">
                <a16:creationId xmlns:a16="http://schemas.microsoft.com/office/drawing/2014/main" id="{DE96DE20-F617-4B6A-BA33-82F1DCA50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4" y="3676217"/>
            <a:ext cx="357620" cy="35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891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hich European Country has the Most Cases?</a:t>
            </a:r>
            <a:br>
              <a:rPr lang="en-GB" sz="2800" dirty="0"/>
            </a:br>
            <a:r>
              <a:rPr lang="en-GB" sz="2400" b="0" dirty="0"/>
              <a:t>Selection of countries of interest based on cases per Million </a:t>
            </a:r>
            <a:br>
              <a:rPr lang="en-GB" sz="2400" b="0" dirty="0"/>
            </a:br>
            <a:r>
              <a:rPr lang="en-GB" sz="2400" b="0" dirty="0"/>
              <a:t>and global media coverag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062B32-FC1F-48F9-B7CC-920A0CCE786D}"/>
              </a:ext>
            </a:extLst>
          </p:cNvPr>
          <p:cNvSpPr txBox="1"/>
          <p:nvPr/>
        </p:nvSpPr>
        <p:spPr>
          <a:xfrm>
            <a:off x="7016619" y="1877931"/>
            <a:ext cx="4767393" cy="3859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Low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Denmark:</a:t>
            </a:r>
            <a:r>
              <a:rPr lang="en-US" sz="1600" i="1" dirty="0">
                <a:latin typeface="Avenir Next LT Pro" panose="020B0504020202020204" pitchFamily="34" charset="0"/>
              </a:rPr>
              <a:t> earliest &amp; longest full country lockdown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Norway, Finland, Greece, Netherlands, and Germany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Medium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Italy:</a:t>
            </a:r>
            <a:r>
              <a:rPr lang="en-US" sz="1600" i="1" dirty="0">
                <a:latin typeface="Avenir Next LT Pro" panose="020B0504020202020204" pitchFamily="34" charset="0"/>
              </a:rPr>
              <a:t> first country hit badly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Poland:</a:t>
            </a:r>
            <a:r>
              <a:rPr lang="en-US" sz="1600" i="1" dirty="0">
                <a:latin typeface="Avenir Next LT Pro" panose="020B0504020202020204" pitchFamily="34" charset="0"/>
              </a:rPr>
              <a:t> severe lockdown and overcorrection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Sweden:</a:t>
            </a:r>
            <a:r>
              <a:rPr lang="en-US" sz="1600" i="1" dirty="0">
                <a:latin typeface="Avenir Next LT Pro" panose="020B0504020202020204" pitchFamily="34" charset="0"/>
              </a:rPr>
              <a:t> no lockdown 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United Kingdom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delayed lockdown</a:t>
            </a:r>
            <a:br>
              <a:rPr lang="en-US" sz="1600" i="1" dirty="0">
                <a:latin typeface="Avenir Next LT Pro" panose="020B0504020202020204" pitchFamily="34" charset="0"/>
              </a:rPr>
            </a:br>
            <a:r>
              <a:rPr lang="en-US" sz="1600" i="1" dirty="0">
                <a:latin typeface="Avenir Next LT Pro" panose="020B0504020202020204" pitchFamily="34" charset="0"/>
              </a:rPr>
              <a:t>Iceland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High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France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its ‘chaotic’ policing strategy</a:t>
            </a: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Czech Republic, Spain, Luxemburg, Switzerla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9D1D45-95F0-4995-A721-C301E07B8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83337"/>
            <a:ext cx="6536112" cy="449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How did the Restrictions Affect the Number of Cases?</a:t>
            </a:r>
            <a:br>
              <a:rPr lang="en-GB" sz="2800" dirty="0"/>
            </a:br>
            <a:r>
              <a:rPr lang="en-GB" sz="2400" b="0" dirty="0"/>
              <a:t>Three COVID-19 response strategies emerge, with differing success …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E3C65-7626-4FC3-8FEE-F6C329DF0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" y="1887332"/>
            <a:ext cx="7899222" cy="39348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EF3CA0-C454-44C5-B822-65E9ADA5DB4D}"/>
              </a:ext>
            </a:extLst>
          </p:cNvPr>
          <p:cNvSpPr txBox="1"/>
          <p:nvPr/>
        </p:nvSpPr>
        <p:spPr>
          <a:xfrm>
            <a:off x="8265186" y="1887333"/>
            <a:ext cx="345470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Relatively low changes in number of cases for Finland and Denmark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Switzerland, France and the Netherlands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Germany, Norway, Greece able to contain few ca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38935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98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A644-A430-4C13-A923-EAE48CF6E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05" y="1886430"/>
            <a:ext cx="7879449" cy="393480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837" y="365126"/>
            <a:ext cx="10716176" cy="470202"/>
          </a:xfrm>
        </p:spPr>
        <p:txBody>
          <a:bodyPr/>
          <a:lstStyle/>
          <a:p>
            <a:r>
              <a:rPr lang="en-GB" dirty="0"/>
              <a:t>How did the Restrictions Affect the Number of Deaths?</a:t>
            </a:r>
            <a:br>
              <a:rPr lang="en-GB" sz="2800" dirty="0"/>
            </a:br>
            <a:r>
              <a:rPr lang="en-GB" sz="2400" b="0" dirty="0"/>
              <a:t>…but high early deaths suggest low number of cases might result from a lack of testing during the first wave </a:t>
            </a:r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51F050-E6F7-4374-8669-3061B15FFCBD}"/>
              </a:ext>
            </a:extLst>
          </p:cNvPr>
          <p:cNvSpPr txBox="1"/>
          <p:nvPr/>
        </p:nvSpPr>
        <p:spPr>
          <a:xfrm>
            <a:off x="8265186" y="1887333"/>
            <a:ext cx="341674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Besides Sweden, low number of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Compared to cases, high number of deaths during first wa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nly Germany, Norway, Greece able to contain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</p:spTree>
    <p:extLst>
      <p:ext uri="{BB962C8B-B14F-4D97-AF65-F5344CB8AC3E}">
        <p14:creationId xmlns:p14="http://schemas.microsoft.com/office/powerpoint/2010/main" val="1693382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: Which European Country had the Most Cases?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 hit European Countries to a different exten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DD3F30-2F76-4837-8C9C-19D0E3CA7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DB88B-5B54-4C09-9035-4AC67077AB03}"/>
              </a:ext>
            </a:extLst>
          </p:cNvPr>
          <p:cNvSpPr/>
          <p:nvPr/>
        </p:nvSpPr>
        <p:spPr>
          <a:xfrm>
            <a:off x="5880100" y="1483891"/>
            <a:ext cx="5924937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65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</TotalTime>
  <Words>1154</Words>
  <Application>Microsoft Macintosh PowerPoint</Application>
  <PresentationFormat>Widescreen</PresentationFormat>
  <Paragraphs>16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Avenir Book</vt:lpstr>
      <vt:lpstr>Avenir Next LT Pro</vt:lpstr>
      <vt:lpstr>Calibri</vt:lpstr>
      <vt:lpstr>Times New Roman</vt:lpstr>
      <vt:lpstr>Office Theme</vt:lpstr>
      <vt:lpstr>think-cell Slide</vt:lpstr>
      <vt:lpstr>"No Need to Panic,  It's All Under Control..."  A Visual Critique of European Government's COVID-19 Response Strategies</vt:lpstr>
      <vt:lpstr>PowerPoint Presentation</vt:lpstr>
      <vt:lpstr>Do they Really have Everything under Control?  We want to understand the differences between COVID - 19 responses amongst European governments and their level of effectiveness  </vt:lpstr>
      <vt:lpstr>PowerPoint Presentation</vt:lpstr>
      <vt:lpstr>What was our Methodology? After cleaning and wrangling the data, we analysed trends and searched for patterns</vt:lpstr>
      <vt:lpstr>Which European Country has the Most Cases? Selection of countries of interest based on cases per Million  and global media coverage</vt:lpstr>
      <vt:lpstr>How did the Restrictions Affect the Number of Cases? Three COVID-19 response strategies emerge, with differing success …</vt:lpstr>
      <vt:lpstr>How did the Restrictions Affect the Number of Deaths? …but high early deaths suggest low number of cases might result from a lack of testing during the first wave </vt:lpstr>
      <vt:lpstr>Wave 1: Which European Country had the Most Cases? Wave 1 hit European Countries to a different extent</vt:lpstr>
      <vt:lpstr>How did European Countries React to Wave 1? What Trend do we see</vt:lpstr>
      <vt:lpstr>Wave 2: Which European Country had the most Cases? Wave 2 hit European Countries to a different extent</vt:lpstr>
      <vt:lpstr>Did Governments Learn from Wave 1? Most countries opted for faster, harder lockdowns – following the Danish example</vt:lpstr>
      <vt:lpstr>How do Factors Affecting Cases Rank in Importance?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No Need to Panic,  It's All Under Control..."  A Visual Critique of European Government's COVID-19 Response Strategies</dc:title>
  <dc:creator>Anna Plaschke</dc:creator>
  <cp:lastModifiedBy>Alberto Lambert</cp:lastModifiedBy>
  <cp:revision>117</cp:revision>
  <dcterms:created xsi:type="dcterms:W3CDTF">2020-12-02T12:05:25Z</dcterms:created>
  <dcterms:modified xsi:type="dcterms:W3CDTF">2020-12-03T09:44:33Z</dcterms:modified>
</cp:coreProperties>
</file>